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61" r:id="rId3"/>
  </p:sldMasterIdLst>
  <p:notesMasterIdLst>
    <p:notesMasterId r:id="rId20"/>
  </p:notesMasterIdLst>
  <p:handoutMasterIdLst>
    <p:handoutMasterId r:id="rId21"/>
  </p:handoutMasterIdLst>
  <p:sldIdLst>
    <p:sldId id="1277" r:id="rId4"/>
    <p:sldId id="1293" r:id="rId5"/>
    <p:sldId id="1294" r:id="rId6"/>
    <p:sldId id="1296" r:id="rId7"/>
    <p:sldId id="1359" r:id="rId8"/>
    <p:sldId id="1381" r:id="rId9"/>
    <p:sldId id="1382" r:id="rId10"/>
    <p:sldId id="1383" r:id="rId11"/>
    <p:sldId id="1373" r:id="rId12"/>
    <p:sldId id="1372" r:id="rId13"/>
    <p:sldId id="1376" r:id="rId14"/>
    <p:sldId id="1377" r:id="rId15"/>
    <p:sldId id="1343" r:id="rId16"/>
    <p:sldId id="1344" r:id="rId17"/>
    <p:sldId id="1345" r:id="rId18"/>
    <p:sldId id="1346" r:id="rId19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59"/>
            <p14:sldId id="1381"/>
            <p14:sldId id="1382"/>
            <p14:sldId id="1383"/>
            <p14:sldId id="1373"/>
            <p14:sldId id="1372"/>
            <p14:sldId id="1376"/>
            <p14:sldId id="1377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4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4C6-4713-9BC4-56C43B03A698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9A7-4D33-8040-2FEBD6AE11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moravský kraj</c:v>
                </c:pt>
                <c:pt idx="2">
                  <c:v>Jihočeský kraj</c:v>
                </c:pt>
                <c:pt idx="3">
                  <c:v>Liberecký kraj</c:v>
                </c:pt>
                <c:pt idx="4">
                  <c:v>Pardubický kraj</c:v>
                </c:pt>
                <c:pt idx="5">
                  <c:v>Olomoucký kraj</c:v>
                </c:pt>
                <c:pt idx="6">
                  <c:v>Ústecký kraj</c:v>
                </c:pt>
                <c:pt idx="7">
                  <c:v>Plzeňský kraj</c:v>
                </c:pt>
                <c:pt idx="8">
                  <c:v>ČR</c:v>
                </c:pt>
                <c:pt idx="9">
                  <c:v>Zlínský kraj</c:v>
                </c:pt>
                <c:pt idx="10">
                  <c:v>Středočeský kraj</c:v>
                </c:pt>
                <c:pt idx="11">
                  <c:v>Moravskoslezský kraj</c:v>
                </c:pt>
                <c:pt idx="12">
                  <c:v>Karlovarský kraj</c:v>
                </c:pt>
                <c:pt idx="13">
                  <c:v>Královéhrade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6342725704399997</c:v>
                </c:pt>
                <c:pt idx="1">
                  <c:v>0.330683624801</c:v>
                </c:pt>
                <c:pt idx="2">
                  <c:v>0.308445532435</c:v>
                </c:pt>
                <c:pt idx="3">
                  <c:v>0.27060270602699998</c:v>
                </c:pt>
                <c:pt idx="4">
                  <c:v>0.260821309655</c:v>
                </c:pt>
                <c:pt idx="5">
                  <c:v>0.241426611796</c:v>
                </c:pt>
                <c:pt idx="6">
                  <c:v>0.23997326203200001</c:v>
                </c:pt>
                <c:pt idx="7">
                  <c:v>0.23865755127400001</c:v>
                </c:pt>
                <c:pt idx="8">
                  <c:v>0.23090805052999999</c:v>
                </c:pt>
                <c:pt idx="9">
                  <c:v>0.20892274211</c:v>
                </c:pt>
                <c:pt idx="10">
                  <c:v>0.20494889725599999</c:v>
                </c:pt>
                <c:pt idx="11">
                  <c:v>0.188031161473</c:v>
                </c:pt>
                <c:pt idx="12">
                  <c:v>0.16985645932999999</c:v>
                </c:pt>
                <c:pt idx="13">
                  <c:v>0.123385939741</c:v>
                </c:pt>
                <c:pt idx="14">
                  <c:v>0.121376234469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708-428D-9590-EE58214A90A3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E3-41DF-9789-939FCE037805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Královéhradecký kraj</c:v>
                </c:pt>
                <c:pt idx="3">
                  <c:v>Jihomoravský kraj</c:v>
                </c:pt>
                <c:pt idx="4">
                  <c:v>Pardubický kraj</c:v>
                </c:pt>
                <c:pt idx="5">
                  <c:v>Jihočeský kraj</c:v>
                </c:pt>
                <c:pt idx="6">
                  <c:v>Zlínský kraj</c:v>
                </c:pt>
                <c:pt idx="7">
                  <c:v>Plzeňský kraj</c:v>
                </c:pt>
                <c:pt idx="8">
                  <c:v>ČR</c:v>
                </c:pt>
                <c:pt idx="9">
                  <c:v>Ústecký kraj</c:v>
                </c:pt>
                <c:pt idx="10">
                  <c:v>Moravskoslezský kraj</c:v>
                </c:pt>
                <c:pt idx="11">
                  <c:v>Olomoucký kraj</c:v>
                </c:pt>
                <c:pt idx="12">
                  <c:v>Liber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1414141414099997</c:v>
                </c:pt>
                <c:pt idx="1">
                  <c:v>0.41350210970399998</c:v>
                </c:pt>
                <c:pt idx="2">
                  <c:v>0.36956521739100001</c:v>
                </c:pt>
                <c:pt idx="3">
                  <c:v>0.35990338164199998</c:v>
                </c:pt>
                <c:pt idx="4">
                  <c:v>0.32824427480899998</c:v>
                </c:pt>
                <c:pt idx="5">
                  <c:v>0.278911564625</c:v>
                </c:pt>
                <c:pt idx="6">
                  <c:v>0.27868852458999999</c:v>
                </c:pt>
                <c:pt idx="7">
                  <c:v>0.27125506072799999</c:v>
                </c:pt>
                <c:pt idx="8">
                  <c:v>0.26263463131699999</c:v>
                </c:pt>
                <c:pt idx="9">
                  <c:v>0.25581395348800001</c:v>
                </c:pt>
                <c:pt idx="10">
                  <c:v>0.245579567779</c:v>
                </c:pt>
                <c:pt idx="11">
                  <c:v>0.20304568527899999</c:v>
                </c:pt>
                <c:pt idx="12">
                  <c:v>0.17821782178199999</c:v>
                </c:pt>
                <c:pt idx="13">
                  <c:v>0.156626506024</c:v>
                </c:pt>
                <c:pt idx="14">
                  <c:v>0.1452229299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A4E-4A09-9DF7-4FEE22AA6BF2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B00-4D60-9A24-9144AA6A1D22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Pt>
            <c:idx val="10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204-473A-B7BE-50056BFDC275}"/>
              </c:ext>
            </c:extLst>
          </c:dPt>
          <c:dPt>
            <c:idx val="11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A1-4E8C-9089-81C55C8D80E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moravský kraj</c:v>
                </c:pt>
                <c:pt idx="2">
                  <c:v>Kraj Vysočina</c:v>
                </c:pt>
                <c:pt idx="3">
                  <c:v>Jihočeský kraj</c:v>
                </c:pt>
                <c:pt idx="4">
                  <c:v>Středočeský kraj</c:v>
                </c:pt>
                <c:pt idx="5">
                  <c:v>Královéhradecký kraj</c:v>
                </c:pt>
                <c:pt idx="6">
                  <c:v>Ústecký kraj</c:v>
                </c:pt>
                <c:pt idx="7">
                  <c:v>ČR</c:v>
                </c:pt>
                <c:pt idx="8">
                  <c:v>Moravskoslezský kraj</c:v>
                </c:pt>
                <c:pt idx="9">
                  <c:v>Olomouc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Liberecký kraj</c:v>
                </c:pt>
                <c:pt idx="13">
                  <c:v>Hlavní město Praha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5869565217299998</c:v>
                </c:pt>
                <c:pt idx="1">
                  <c:v>0.30303030303</c:v>
                </c:pt>
                <c:pt idx="2">
                  <c:v>0.29032258064499999</c:v>
                </c:pt>
                <c:pt idx="3">
                  <c:v>0.265625</c:v>
                </c:pt>
                <c:pt idx="4">
                  <c:v>0.260869565217</c:v>
                </c:pt>
                <c:pt idx="5">
                  <c:v>0.254385964912</c:v>
                </c:pt>
                <c:pt idx="6">
                  <c:v>0.21848739495700001</c:v>
                </c:pt>
                <c:pt idx="7">
                  <c:v>0.18686131386800001</c:v>
                </c:pt>
                <c:pt idx="8">
                  <c:v>0.17475728155299999</c:v>
                </c:pt>
                <c:pt idx="9">
                  <c:v>0.17241379310300001</c:v>
                </c:pt>
                <c:pt idx="10">
                  <c:v>0.14516129032200001</c:v>
                </c:pt>
                <c:pt idx="11">
                  <c:v>0.144827586206</c:v>
                </c:pt>
                <c:pt idx="12">
                  <c:v>0.111111111111</c:v>
                </c:pt>
                <c:pt idx="13">
                  <c:v>8.4566596194000004E-2</c:v>
                </c:pt>
                <c:pt idx="14">
                  <c:v>6.976744186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9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3</c:v>
                </c:pt>
                <c:pt idx="32">
                  <c:v>2292</c:v>
                </c:pt>
                <c:pt idx="33">
                  <c:v>2495</c:v>
                </c:pt>
                <c:pt idx="34">
                  <c:v>2657</c:v>
                </c:pt>
                <c:pt idx="35">
                  <c:v>2799</c:v>
                </c:pt>
                <c:pt idx="36">
                  <c:v>2799</c:v>
                </c:pt>
                <c:pt idx="37">
                  <c:v>2950</c:v>
                </c:pt>
                <c:pt idx="38">
                  <c:v>3411</c:v>
                </c:pt>
                <c:pt idx="39">
                  <c:v>3609</c:v>
                </c:pt>
                <c:pt idx="40">
                  <c:v>3755</c:v>
                </c:pt>
                <c:pt idx="41">
                  <c:v>3884</c:v>
                </c:pt>
                <c:pt idx="42">
                  <c:v>4046</c:v>
                </c:pt>
                <c:pt idx="43">
                  <c:v>3987</c:v>
                </c:pt>
                <c:pt idx="44">
                  <c:v>4129</c:v>
                </c:pt>
                <c:pt idx="45">
                  <c:v>4777</c:v>
                </c:pt>
                <c:pt idx="46">
                  <c:v>4849</c:v>
                </c:pt>
                <c:pt idx="47">
                  <c:v>4812</c:v>
                </c:pt>
                <c:pt idx="48">
                  <c:v>5177</c:v>
                </c:pt>
                <c:pt idx="49">
                  <c:v>5302</c:v>
                </c:pt>
                <c:pt idx="50">
                  <c:v>5192</c:v>
                </c:pt>
                <c:pt idx="51">
                  <c:v>5392</c:v>
                </c:pt>
                <c:pt idx="52">
                  <c:v>5975</c:v>
                </c:pt>
                <c:pt idx="53">
                  <c:v>6097</c:v>
                </c:pt>
                <c:pt idx="54">
                  <c:v>6189</c:v>
                </c:pt>
                <c:pt idx="55">
                  <c:v>6259</c:v>
                </c:pt>
                <c:pt idx="56">
                  <c:v>6294</c:v>
                </c:pt>
                <c:pt idx="57">
                  <c:v>6076</c:v>
                </c:pt>
                <c:pt idx="58">
                  <c:v>6254</c:v>
                </c:pt>
                <c:pt idx="59">
                  <c:v>6911</c:v>
                </c:pt>
                <c:pt idx="60">
                  <c:v>68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79</c:v>
                </c:pt>
                <c:pt idx="52">
                  <c:v>815</c:v>
                </c:pt>
                <c:pt idx="53">
                  <c:v>858</c:v>
                </c:pt>
                <c:pt idx="54">
                  <c:v>863</c:v>
                </c:pt>
                <c:pt idx="55">
                  <c:v>889</c:v>
                </c:pt>
                <c:pt idx="56">
                  <c:v>910</c:v>
                </c:pt>
                <c:pt idx="57">
                  <c:v>920</c:v>
                </c:pt>
                <c:pt idx="58">
                  <c:v>928</c:v>
                </c:pt>
                <c:pt idx="59">
                  <c:v>970</c:v>
                </c:pt>
                <c:pt idx="60">
                  <c:v>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4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998539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7549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23107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66608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65441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502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9688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848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94108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04837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9275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5636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6133802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5258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4</a:t>
            </a:r>
            <a:r>
              <a:rPr lang="cs-CZ" b="1" dirty="0" smtClean="0"/>
              <a:t>. </a:t>
            </a:r>
            <a:r>
              <a:rPr lang="cs-CZ" b="1" dirty="0" smtClean="0"/>
              <a:t>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02A290B3-A2EE-4530-9710-BF16A1D9E25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96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811036" y="591957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279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0064336"/>
              </p:ext>
            </p:extLst>
          </p:nvPr>
        </p:nvGraphicFramePr>
        <p:xfrm>
          <a:off x="8663881" y="3497478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10.202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200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527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8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4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7" name="Obdélník 6"/>
          <p:cNvSpPr/>
          <p:nvPr/>
        </p:nvSpPr>
        <p:spPr>
          <a:xfrm>
            <a:off x="8663616" y="1992616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Data k </a:t>
            </a:r>
            <a:r>
              <a:rPr lang="cs-CZ" b="1" dirty="0" smtClean="0"/>
              <a:t>30.11.2021</a:t>
            </a:r>
            <a:endParaRPr lang="cs-CZ" b="1" dirty="0"/>
          </a:p>
          <a:p>
            <a:pPr algn="ctr"/>
            <a:r>
              <a:rPr lang="cs-CZ" dirty="0" smtClean="0"/>
              <a:t>odpovídala </a:t>
            </a:r>
            <a:r>
              <a:rPr lang="cs-CZ" dirty="0"/>
              <a:t>ve srovnání s loňským podzimem datům z </a:t>
            </a:r>
            <a:r>
              <a:rPr lang="cs-CZ" b="1" dirty="0" smtClean="0"/>
              <a:t>26.10.2020</a:t>
            </a:r>
            <a:endParaRPr lang="cs-CZ" b="1" dirty="0"/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219318" y="4914531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10" name="Zástupný obsah 7">
            <a:extLst>
              <a:ext uri="{FF2B5EF4-FFF2-40B4-BE49-F238E27FC236}">
                <a16:creationId xmlns:a16="http://schemas.microsoft.com/office/drawing/2014/main" id="{72F6A126-A101-4573-B135-F4C768A173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19" y="984739"/>
            <a:ext cx="8592497" cy="526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478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/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0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13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9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8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8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9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87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9455890" y="511221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272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088458"/>
              </p:ext>
            </p:extLst>
          </p:nvPr>
        </p:nvGraphicFramePr>
        <p:xfrm>
          <a:off x="367815" y="963978"/>
          <a:ext cx="11405086" cy="516320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ituace se zhoršuje, postupně navyšovány kapacity standardní i intenzivní péče, kde již minimální rezerva jednotek lůžek. Mnohde již na hraně možností, které jsou nižší než v jarních měsících.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ě krizová situace může i během hodin přejít v krizovou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 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403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ze očekávat další zhoršování především v segmentu intenzivní péče jak pro COVID tak i non-COVID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3472734"/>
              </p:ext>
            </p:extLst>
          </p:nvPr>
        </p:nvGraphicFramePr>
        <p:xfrm>
          <a:off x="270500" y="990491"/>
          <a:ext cx="11587543" cy="5327279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5799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 kapacitních a personálních důvodů laboratoří v kraji trvá vyhodnocení PCR i týden.</a:t>
                      </a:r>
                      <a:endParaRPr lang="cs-CZ" sz="1300" b="0" i="0" kern="120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0 pacientů denně, dochází k navýšení počtu pacientů jdoucích rovnou z terénu na JIP – v minulém týdnu cca 1hosp/denně, nyní 3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odsp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den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ušice, Stod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221843"/>
              </p:ext>
            </p:extLst>
          </p:nvPr>
        </p:nvGraphicFramePr>
        <p:xfrm>
          <a:off x="350228" y="664385"/>
          <a:ext cx="11519385" cy="598505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670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9325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ání KŠ: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á naplněnos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ddělení nemocnic, připravena redistribuce pacientů mezi nemocnicemi v kraj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hrně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mezi C/D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vyčerpány lidské i materiální zdroje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lišná situace v různých okresech – nejhorší v Blansku a Vyškově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978670"/>
              </p:ext>
            </p:extLst>
          </p:nvPr>
        </p:nvGraphicFramePr>
        <p:xfrm>
          <a:off x="337698" y="706833"/>
          <a:ext cx="11435203" cy="596353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24067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nárůst C19 hospitalizací, výrazněji standard než J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skytují péči ve výrazně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optimálním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sonálním zajištění (zejména NLZP), pro další rozšíření péče je klíčové personální posíl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mitovaně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lze zajistit v redistribucí v rámci nemocnic, s předpokladem dalšího nárůstu počtů pacientů je potřeba i externího posílení alespoň pomocným personálem (AČR, HZS, studenti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bez významných změn, nadále vážná, ale zvladatelná v rámci kraje.</a:t>
                      </a:r>
                      <a:endParaRPr lang="cs-CZ" sz="13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5 pacientů denně na standardních odd., 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Také dochází k navýšení počtu pacientů jdoucích rovnou z terénu. 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70 PN, z toho 40 pro COVID). Řada nemocnic diskutuje o HPO. Při absenci nouzového stavu a hromadného postižení osob nelze dobře rekrutovat pomocnou sílu do nemocnic, žádáme razantní omezení sociálních kontaktů všemi opatřením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4</a:t>
            </a:r>
            <a:r>
              <a:rPr lang="cs-CZ" b="1" dirty="0" smtClean="0"/>
              <a:t>.12.2021 </a:t>
            </a:r>
            <a:r>
              <a:rPr lang="cs-CZ" b="1" dirty="0" smtClean="0"/>
              <a:t>00:26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33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244819"/>
              </p:ext>
            </p:extLst>
          </p:nvPr>
        </p:nvGraphicFramePr>
        <p:xfrm>
          <a:off x="332819" y="997525"/>
          <a:ext cx="10187399" cy="5325501"/>
        </p:xfrm>
        <a:graphic>
          <a:graphicData uri="http://schemas.openxmlformats.org/drawingml/2006/table">
            <a:tbl>
              <a:tblPr/>
              <a:tblGrid>
                <a:gridCol w="2296651">
                  <a:extLst>
                    <a:ext uri="{9D8B030D-6E8A-4147-A177-3AD203B41FA5}">
                      <a16:colId xmlns:a16="http://schemas.microsoft.com/office/drawing/2014/main" val="718574004"/>
                    </a:ext>
                  </a:extLst>
                </a:gridCol>
                <a:gridCol w="1308026">
                  <a:extLst>
                    <a:ext uri="{9D8B030D-6E8A-4147-A177-3AD203B41FA5}">
                      <a16:colId xmlns:a16="http://schemas.microsoft.com/office/drawing/2014/main" val="62130103"/>
                    </a:ext>
                  </a:extLst>
                </a:gridCol>
                <a:gridCol w="1292817">
                  <a:extLst>
                    <a:ext uri="{9D8B030D-6E8A-4147-A177-3AD203B41FA5}">
                      <a16:colId xmlns:a16="http://schemas.microsoft.com/office/drawing/2014/main" val="2495079279"/>
                    </a:ext>
                  </a:extLst>
                </a:gridCol>
                <a:gridCol w="1292817">
                  <a:extLst>
                    <a:ext uri="{9D8B030D-6E8A-4147-A177-3AD203B41FA5}">
                      <a16:colId xmlns:a16="http://schemas.microsoft.com/office/drawing/2014/main" val="529172122"/>
                    </a:ext>
                  </a:extLst>
                </a:gridCol>
                <a:gridCol w="1353656">
                  <a:extLst>
                    <a:ext uri="{9D8B030D-6E8A-4147-A177-3AD203B41FA5}">
                      <a16:colId xmlns:a16="http://schemas.microsoft.com/office/drawing/2014/main" val="3219637846"/>
                    </a:ext>
                  </a:extLst>
                </a:gridCol>
                <a:gridCol w="1076841">
                  <a:extLst>
                    <a:ext uri="{9D8B030D-6E8A-4147-A177-3AD203B41FA5}">
                      <a16:colId xmlns:a16="http://schemas.microsoft.com/office/drawing/2014/main" val="744742725"/>
                    </a:ext>
                  </a:extLst>
                </a:gridCol>
                <a:gridCol w="1566591">
                  <a:extLst>
                    <a:ext uri="{9D8B030D-6E8A-4147-A177-3AD203B41FA5}">
                      <a16:colId xmlns:a16="http://schemas.microsoft.com/office/drawing/2014/main" val="1534858905"/>
                    </a:ext>
                  </a:extLst>
                </a:gridCol>
              </a:tblGrid>
              <a:tr h="20909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2826151"/>
                  </a:ext>
                </a:extLst>
              </a:tr>
              <a:tr h="209090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2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1,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906867"/>
                  </a:ext>
                </a:extLst>
              </a:tr>
              <a:tr h="173245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5800826"/>
                  </a:ext>
                </a:extLst>
              </a:tr>
              <a:tr h="18519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7939192"/>
                  </a:ext>
                </a:extLst>
              </a:tr>
              <a:tr h="7228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0225328"/>
                  </a:ext>
                </a:extLst>
              </a:tr>
              <a:tr h="179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266718"/>
                  </a:ext>
                </a:extLst>
              </a:tr>
              <a:tr h="179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7687920"/>
                  </a:ext>
                </a:extLst>
              </a:tr>
              <a:tr h="179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0399031"/>
                  </a:ext>
                </a:extLst>
              </a:tr>
              <a:tr h="179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4575019"/>
                  </a:ext>
                </a:extLst>
              </a:tr>
              <a:tr h="1866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1744002"/>
                  </a:ext>
                </a:extLst>
              </a:tr>
              <a:tr h="179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231244"/>
                  </a:ext>
                </a:extLst>
              </a:tr>
              <a:tr h="179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616086"/>
                  </a:ext>
                </a:extLst>
              </a:tr>
              <a:tr h="179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8368622"/>
                  </a:ext>
                </a:extLst>
              </a:tr>
              <a:tr h="179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7159973"/>
                  </a:ext>
                </a:extLst>
              </a:tr>
              <a:tr h="179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927728"/>
                  </a:ext>
                </a:extLst>
              </a:tr>
              <a:tr h="179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2524344"/>
                  </a:ext>
                </a:extLst>
              </a:tr>
              <a:tr h="179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7579929"/>
                  </a:ext>
                </a:extLst>
              </a:tr>
              <a:tr h="1792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3263738"/>
                  </a:ext>
                </a:extLst>
              </a:tr>
              <a:tr h="2016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160900"/>
                  </a:ext>
                </a:extLst>
              </a:tr>
              <a:tr h="1941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5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6868513"/>
                  </a:ext>
                </a:extLst>
              </a:tr>
              <a:tr h="25389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6132388"/>
                  </a:ext>
                </a:extLst>
              </a:tr>
              <a:tr h="173245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8757466"/>
                  </a:ext>
                </a:extLst>
              </a:tr>
              <a:tr h="3405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5933029"/>
                  </a:ext>
                </a:extLst>
              </a:tr>
              <a:tr h="17921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19" marR="5019" marT="5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03471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2250834"/>
              </p:ext>
            </p:extLst>
          </p:nvPr>
        </p:nvGraphicFramePr>
        <p:xfrm>
          <a:off x="332819" y="969820"/>
          <a:ext cx="10261290" cy="5486397"/>
        </p:xfrm>
        <a:graphic>
          <a:graphicData uri="http://schemas.openxmlformats.org/drawingml/2006/table">
            <a:tbl>
              <a:tblPr/>
              <a:tblGrid>
                <a:gridCol w="2313309">
                  <a:extLst>
                    <a:ext uri="{9D8B030D-6E8A-4147-A177-3AD203B41FA5}">
                      <a16:colId xmlns:a16="http://schemas.microsoft.com/office/drawing/2014/main" val="1734777080"/>
                    </a:ext>
                  </a:extLst>
                </a:gridCol>
                <a:gridCol w="1317515">
                  <a:extLst>
                    <a:ext uri="{9D8B030D-6E8A-4147-A177-3AD203B41FA5}">
                      <a16:colId xmlns:a16="http://schemas.microsoft.com/office/drawing/2014/main" val="2234094802"/>
                    </a:ext>
                  </a:extLst>
                </a:gridCol>
                <a:gridCol w="1302194">
                  <a:extLst>
                    <a:ext uri="{9D8B030D-6E8A-4147-A177-3AD203B41FA5}">
                      <a16:colId xmlns:a16="http://schemas.microsoft.com/office/drawing/2014/main" val="3262039445"/>
                    </a:ext>
                  </a:extLst>
                </a:gridCol>
                <a:gridCol w="1302194">
                  <a:extLst>
                    <a:ext uri="{9D8B030D-6E8A-4147-A177-3AD203B41FA5}">
                      <a16:colId xmlns:a16="http://schemas.microsoft.com/office/drawing/2014/main" val="1744149451"/>
                    </a:ext>
                  </a:extLst>
                </a:gridCol>
                <a:gridCol w="1363474">
                  <a:extLst>
                    <a:ext uri="{9D8B030D-6E8A-4147-A177-3AD203B41FA5}">
                      <a16:colId xmlns:a16="http://schemas.microsoft.com/office/drawing/2014/main" val="3727317893"/>
                    </a:ext>
                  </a:extLst>
                </a:gridCol>
                <a:gridCol w="1084652">
                  <a:extLst>
                    <a:ext uri="{9D8B030D-6E8A-4147-A177-3AD203B41FA5}">
                      <a16:colId xmlns:a16="http://schemas.microsoft.com/office/drawing/2014/main" val="3129978798"/>
                    </a:ext>
                  </a:extLst>
                </a:gridCol>
                <a:gridCol w="1577952">
                  <a:extLst>
                    <a:ext uri="{9D8B030D-6E8A-4147-A177-3AD203B41FA5}">
                      <a16:colId xmlns:a16="http://schemas.microsoft.com/office/drawing/2014/main" val="2778939865"/>
                    </a:ext>
                  </a:extLst>
                </a:gridCol>
              </a:tblGrid>
              <a:tr h="212761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8816804"/>
                  </a:ext>
                </a:extLst>
              </a:tr>
              <a:tr h="219908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2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1,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6814133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9602849"/>
                  </a:ext>
                </a:extLst>
              </a:tr>
              <a:tr h="19637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8351451"/>
                  </a:ext>
                </a:extLst>
              </a:tr>
              <a:tr h="7602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9492453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3294731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1287731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4203866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153052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3143290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415515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4162341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0756342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5409140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4348908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9474208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991885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952153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8300109"/>
                  </a:ext>
                </a:extLst>
              </a:tr>
              <a:tr h="2120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2393757"/>
                  </a:ext>
                </a:extLst>
              </a:tr>
              <a:tr h="196378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5345133"/>
                  </a:ext>
                </a:extLst>
              </a:tr>
              <a:tr h="196378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08597"/>
                  </a:ext>
                </a:extLst>
              </a:tr>
              <a:tr h="35813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7204044"/>
                  </a:ext>
                </a:extLst>
              </a:tr>
              <a:tr h="188491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87826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4.12.2021 </a:t>
            </a:r>
            <a:r>
              <a:rPr lang="cs-CZ" b="1" dirty="0" smtClean="0"/>
              <a:t>00:26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5 </a:t>
            </a:r>
            <a:r>
              <a:rPr lang="cs-CZ" sz="2000" b="1" dirty="0" smtClean="0"/>
              <a:t>853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463146"/>
              </p:ext>
            </p:extLst>
          </p:nvPr>
        </p:nvGraphicFramePr>
        <p:xfrm>
          <a:off x="332817" y="1010217"/>
          <a:ext cx="9153188" cy="5273396"/>
        </p:xfrm>
        <a:graphic>
          <a:graphicData uri="http://schemas.openxmlformats.org/drawingml/2006/table">
            <a:tbl>
              <a:tblPr/>
              <a:tblGrid>
                <a:gridCol w="2028964">
                  <a:extLst>
                    <a:ext uri="{9D8B030D-6E8A-4147-A177-3AD203B41FA5}">
                      <a16:colId xmlns:a16="http://schemas.microsoft.com/office/drawing/2014/main" val="1224114682"/>
                    </a:ext>
                  </a:extLst>
                </a:gridCol>
                <a:gridCol w="1155570">
                  <a:extLst>
                    <a:ext uri="{9D8B030D-6E8A-4147-A177-3AD203B41FA5}">
                      <a16:colId xmlns:a16="http://schemas.microsoft.com/office/drawing/2014/main" val="1917671797"/>
                    </a:ext>
                  </a:extLst>
                </a:gridCol>
                <a:gridCol w="1142134">
                  <a:extLst>
                    <a:ext uri="{9D8B030D-6E8A-4147-A177-3AD203B41FA5}">
                      <a16:colId xmlns:a16="http://schemas.microsoft.com/office/drawing/2014/main" val="1898799031"/>
                    </a:ext>
                  </a:extLst>
                </a:gridCol>
                <a:gridCol w="1142134">
                  <a:extLst>
                    <a:ext uri="{9D8B030D-6E8A-4147-A177-3AD203B41FA5}">
                      <a16:colId xmlns:a16="http://schemas.microsoft.com/office/drawing/2014/main" val="1567367605"/>
                    </a:ext>
                  </a:extLst>
                </a:gridCol>
                <a:gridCol w="1195880">
                  <a:extLst>
                    <a:ext uri="{9D8B030D-6E8A-4147-A177-3AD203B41FA5}">
                      <a16:colId xmlns:a16="http://schemas.microsoft.com/office/drawing/2014/main" val="1631888055"/>
                    </a:ext>
                  </a:extLst>
                </a:gridCol>
                <a:gridCol w="1383996">
                  <a:extLst>
                    <a:ext uri="{9D8B030D-6E8A-4147-A177-3AD203B41FA5}">
                      <a16:colId xmlns:a16="http://schemas.microsoft.com/office/drawing/2014/main" val="3999077935"/>
                    </a:ext>
                  </a:extLst>
                </a:gridCol>
                <a:gridCol w="1104510">
                  <a:extLst>
                    <a:ext uri="{9D8B030D-6E8A-4147-A177-3AD203B41FA5}">
                      <a16:colId xmlns:a16="http://schemas.microsoft.com/office/drawing/2014/main" val="721706688"/>
                    </a:ext>
                  </a:extLst>
                </a:gridCol>
              </a:tblGrid>
              <a:tr h="222178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8103479"/>
                  </a:ext>
                </a:extLst>
              </a:tr>
              <a:tr h="222178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2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21, </a:t>
                      </a:r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:00 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6281771"/>
                  </a:ext>
                </a:extLst>
              </a:tr>
              <a:tr h="19678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5926194"/>
                  </a:ext>
                </a:extLst>
              </a:tr>
              <a:tr h="22217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0093457"/>
                  </a:ext>
                </a:extLst>
              </a:tr>
              <a:tr h="57766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0344497"/>
                  </a:ext>
                </a:extLst>
              </a:tr>
              <a:tr h="1904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2594726"/>
                  </a:ext>
                </a:extLst>
              </a:tr>
              <a:tr h="1904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3998832"/>
                  </a:ext>
                </a:extLst>
              </a:tr>
              <a:tr h="1904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49537"/>
                  </a:ext>
                </a:extLst>
              </a:tr>
              <a:tr h="1904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8167900"/>
                  </a:ext>
                </a:extLst>
              </a:tr>
              <a:tr h="1904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980281"/>
                  </a:ext>
                </a:extLst>
              </a:tr>
              <a:tr h="1904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6061748"/>
                  </a:ext>
                </a:extLst>
              </a:tr>
              <a:tr h="1904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387710"/>
                  </a:ext>
                </a:extLst>
              </a:tr>
              <a:tr h="1904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267081"/>
                  </a:ext>
                </a:extLst>
              </a:tr>
              <a:tr h="1904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524689"/>
                  </a:ext>
                </a:extLst>
              </a:tr>
              <a:tr h="1904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4709587"/>
                  </a:ext>
                </a:extLst>
              </a:tr>
              <a:tr h="1904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5745137"/>
                  </a:ext>
                </a:extLst>
              </a:tr>
              <a:tr h="1904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9185095"/>
                  </a:ext>
                </a:extLst>
              </a:tr>
              <a:tr h="1904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7491720"/>
                  </a:ext>
                </a:extLst>
              </a:tr>
              <a:tr h="1967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8133156"/>
                  </a:ext>
                </a:extLst>
              </a:tr>
              <a:tr h="2142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4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6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3984226"/>
                  </a:ext>
                </a:extLst>
              </a:tr>
              <a:tr h="190439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4833762"/>
                  </a:ext>
                </a:extLst>
              </a:tr>
              <a:tr h="190381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6294483"/>
                  </a:ext>
                </a:extLst>
              </a:tr>
              <a:tr h="37441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2435014"/>
                  </a:ext>
                </a:extLst>
              </a:tr>
              <a:tr h="19043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0552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12.2021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:3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563492"/>
              </p:ext>
            </p:extLst>
          </p:nvPr>
        </p:nvGraphicFramePr>
        <p:xfrm>
          <a:off x="1283679" y="2182636"/>
          <a:ext cx="6284256" cy="2453640"/>
        </p:xfrm>
        <a:graphic>
          <a:graphicData uri="http://schemas.openxmlformats.org/drawingml/2006/table">
            <a:tbl>
              <a:tblPr/>
              <a:tblGrid>
                <a:gridCol w="3894991">
                  <a:extLst>
                    <a:ext uri="{9D8B030D-6E8A-4147-A177-3AD203B41FA5}">
                      <a16:colId xmlns:a16="http://schemas.microsoft.com/office/drawing/2014/main" val="2051997318"/>
                    </a:ext>
                  </a:extLst>
                </a:gridCol>
                <a:gridCol w="639751">
                  <a:extLst>
                    <a:ext uri="{9D8B030D-6E8A-4147-A177-3AD203B41FA5}">
                      <a16:colId xmlns:a16="http://schemas.microsoft.com/office/drawing/2014/main" val="269377338"/>
                    </a:ext>
                  </a:extLst>
                </a:gridCol>
                <a:gridCol w="1749514">
                  <a:extLst>
                    <a:ext uri="{9D8B030D-6E8A-4147-A177-3AD203B41FA5}">
                      <a16:colId xmlns:a16="http://schemas.microsoft.com/office/drawing/2014/main" val="3451513042"/>
                    </a:ext>
                  </a:extLst>
                </a:gridCol>
              </a:tblGrid>
              <a:tr h="35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897" marR="7897" marT="789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8651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</a:t>
                      </a:r>
                      <a:r>
                        <a:rPr lang="cs-CZ" sz="13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.p.s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45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.11.2021 11:58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4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940302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hab. Nemocnice Beroun Jessenia</a:t>
                      </a:r>
                      <a:endParaRPr lang="pl-PL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Č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. 8:08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21391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Říčany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Č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1.2021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6:55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4636663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Kutná Hora 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Č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2.2021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4:25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41869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endParaRPr lang="pl-PL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3165109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endParaRPr lang="pl-PL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6698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459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6918180" y="595853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12.2021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59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22749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9439974"/>
              </p:ext>
            </p:extLst>
          </p:nvPr>
        </p:nvGraphicFramePr>
        <p:xfrm>
          <a:off x="7905494" y="3328749"/>
          <a:ext cx="3754315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300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54015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,0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,6 </a:t>
                      </a:r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5664686" y="5830810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3.12.2021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:59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9329847" y="4500230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12.2021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:13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24679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8608435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2.2021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5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6499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71CF6092-C670-4948-A90F-E8887AF6CCD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94554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8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0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6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1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48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811036" y="591957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.12.2021 0:2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914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2145</TotalTime>
  <Words>2496</Words>
  <Application>Microsoft Office PowerPoint</Application>
  <PresentationFormat>Širokoúhlá obrazovka</PresentationFormat>
  <Paragraphs>677</Paragraphs>
  <Slides>16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16</vt:i4>
      </vt:variant>
    </vt:vector>
  </HeadingPairs>
  <TitlesOfParts>
    <vt:vector size="26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 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630</cp:revision>
  <cp:lastPrinted>2020-10-20T04:21:56Z</cp:lastPrinted>
  <dcterms:created xsi:type="dcterms:W3CDTF">2020-07-15T10:33:32Z</dcterms:created>
  <dcterms:modified xsi:type="dcterms:W3CDTF">2021-12-04T14:43:56Z</dcterms:modified>
</cp:coreProperties>
</file>